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</p:sldMasterIdLst>
  <p:notesMasterIdLst>
    <p:notesMasterId r:id="rId4"/>
  </p:notesMasterIdLst>
  <p:sldIdLst>
    <p:sldId id="389" r:id="rId2"/>
    <p:sldId id="390" r:id="rId3"/>
  </p:sldIdLst>
  <p:sldSz cx="9906000" cy="6858000" type="A4"/>
  <p:notesSz cx="6797675" cy="9926638"/>
  <p:custDataLst>
    <p:tags r:id="rId5"/>
  </p:custDataLst>
  <p:defaultTextStyle>
    <a:defPPr>
      <a:defRPr lang="ru-RU"/>
    </a:defPPr>
    <a:lvl1pPr marL="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pos="1260" userDrawn="1">
          <p15:clr>
            <a:srgbClr val="A4A3A4"/>
          </p15:clr>
        </p15:guide>
        <p15:guide id="3" pos="3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8CEB6C-7532-32DB-A145-09FD7AD663E0}" name="Paul Miles" initials="PM" userId="e85d565d124ddbd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CCFF33"/>
    <a:srgbClr val="E7E7E7"/>
    <a:srgbClr val="3BAD82"/>
    <a:srgbClr val="355AE4"/>
    <a:srgbClr val="FFA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6105B1-D2B9-41E6-8C94-951D0A2C0451}" v="40" dt="2022-08-09T15:50:56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44" autoAdjust="0"/>
  </p:normalViewPr>
  <p:slideViewPr>
    <p:cSldViewPr>
      <p:cViewPr varScale="1">
        <p:scale>
          <a:sx n="115" d="100"/>
          <a:sy n="115" d="100"/>
        </p:scale>
        <p:origin x="1284" y="108"/>
      </p:cViewPr>
      <p:guideLst>
        <p:guide orient="horz" pos="4201"/>
        <p:guide pos="1260"/>
        <p:guide pos="33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68" y="-77"/>
      </p:cViewPr>
      <p:guideLst>
        <p:guide orient="horz" pos="3127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r">
              <a:defRPr sz="1300"/>
            </a:lvl1pPr>
          </a:lstStyle>
          <a:p>
            <a:fld id="{E6D43047-6575-4BE6-A699-8F0CBF34195F}" type="datetimeFigureOut">
              <a:rPr lang="ru-RU" smtClean="0"/>
              <a:t>10.11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5" tIns="46482" rIns="92965" bIns="4648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2965" tIns="46482" rIns="92965" bIns="464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r">
              <a:defRPr sz="1300"/>
            </a:lvl1pPr>
          </a:lstStyle>
          <a:p>
            <a:fld id="{5BE73E3D-4255-4BEF-81C8-40FFDC603DE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5352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6051550" y="579457"/>
            <a:ext cx="3282307" cy="630428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561936" y="5940462"/>
            <a:ext cx="3658611" cy="28922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7"/>
            </a:lvl1pPr>
          </a:lstStyle>
          <a:p>
            <a:r>
              <a:rPr lang="ru-RU" sz="1207" dirty="0"/>
              <a:t>Москва, 2021 год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61936" y="1733118"/>
            <a:ext cx="4914286" cy="19314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ЗАГОЛОВОК ПРЕЗЕНТАЦИИ ВСЕГДА НАБИРАЕТСЯ ЗАГЛАВНЫМИ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8813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888">
          <p15:clr>
            <a:srgbClr val="FBAE40"/>
          </p15:clr>
        </p15:guide>
        <p15:guide id="3" pos="5526">
          <p15:clr>
            <a:srgbClr val="FBAE40"/>
          </p15:clr>
        </p15:guide>
        <p15:guide id="4" pos="2428">
          <p15:clr>
            <a:srgbClr val="FBAE40"/>
          </p15:clr>
        </p15:guide>
        <p15:guide id="5" pos="352">
          <p15:clr>
            <a:srgbClr val="FBAE40"/>
          </p15:clr>
        </p15:guide>
        <p15:guide id="6" pos="714">
          <p15:clr>
            <a:srgbClr val="FBAE40"/>
          </p15:clr>
        </p15:guide>
        <p15:guide id="7" pos="5328">
          <p15:clr>
            <a:srgbClr val="FBAE40"/>
          </p15:clr>
        </p15:guide>
        <p15:guide id="8" pos="4966">
          <p15:clr>
            <a:srgbClr val="FBAE40"/>
          </p15:clr>
        </p15:guide>
        <p15:guide id="9" pos="912">
          <p15:clr>
            <a:srgbClr val="FBAE40"/>
          </p15:clr>
        </p15:guide>
        <p15:guide id="10" pos="1274">
          <p15:clr>
            <a:srgbClr val="FBAE40"/>
          </p15:clr>
        </p15:guide>
        <p15:guide id="11" pos="1472">
          <p15:clr>
            <a:srgbClr val="FBAE40"/>
          </p15:clr>
        </p15:guide>
        <p15:guide id="12" pos="1867">
          <p15:clr>
            <a:srgbClr val="FBAE40"/>
          </p15:clr>
        </p15:guide>
        <p15:guide id="13" pos="2065">
          <p15:clr>
            <a:srgbClr val="FBAE40"/>
          </p15:clr>
        </p15:guide>
        <p15:guide id="17" pos="3812">
          <p15:clr>
            <a:srgbClr val="FBAE40"/>
          </p15:clr>
        </p15:guide>
        <p15:guide id="18" pos="2659">
          <p15:clr>
            <a:srgbClr val="FBAE40"/>
          </p15:clr>
        </p15:guide>
        <p15:guide id="20" pos="3021">
          <p15:clr>
            <a:srgbClr val="FBAE40"/>
          </p15:clr>
        </p15:guide>
        <p15:guide id="21" pos="3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557773" y="1385169"/>
            <a:ext cx="3296678" cy="547176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4221163" y="1385169"/>
            <a:ext cx="4324624" cy="20762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ОБЛОЖКА РАЗДЕЛА </a:t>
            </a:r>
          </a:p>
          <a:p>
            <a:pPr lvl="0"/>
            <a:r>
              <a:rPr lang="ru-RU" dirty="0"/>
              <a:t>ПРЕЗЕНТАЦИИ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9648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980500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4225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59012" y="1508820"/>
            <a:ext cx="3297329" cy="5554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9406" y="1629121"/>
            <a:ext cx="2043513" cy="3984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68780" y="1755812"/>
            <a:ext cx="1741383" cy="3755479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94971" y="1713724"/>
            <a:ext cx="2877554" cy="7171919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6F4D29-733A-4F2F-B9A7-CF767F315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798" y="531160"/>
            <a:ext cx="7176275" cy="754011"/>
          </a:xfrm>
        </p:spPr>
        <p:txBody>
          <a:bodyPr lIns="0" tIns="0" rIns="0" bIns="0" anchor="t">
            <a:noAutofit/>
          </a:bodyPr>
          <a:lstStyle>
            <a:lvl1pPr marL="0" algn="l" defTabSz="1220432" rtl="0" eaLnBrk="1" latinLnBrk="0" hangingPunct="1">
              <a:spcBef>
                <a:spcPct val="0"/>
              </a:spcBef>
              <a:buNone/>
              <a:defRPr lang="ru-RU" sz="2012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0846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20" name="Picture 5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5326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0D71C7-09AB-4656-896D-6F962B9D7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854198" cy="810062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56899" y="1014133"/>
            <a:ext cx="6528661" cy="530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2972452" y="2023792"/>
            <a:ext cx="5808297" cy="3565508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59467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59467 h 6118849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64299 w 10095598"/>
              <a:gd name="connsiteY2" fmla="*/ 5897856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93552 w 10095598"/>
              <a:gd name="connsiteY2" fmla="*/ 5869257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5598" h="6059382">
                <a:moveTo>
                  <a:pt x="0" y="0"/>
                </a:moveTo>
                <a:lnTo>
                  <a:pt x="10095598" y="26335"/>
                </a:lnTo>
                <a:lnTo>
                  <a:pt x="10093552" y="5869257"/>
                </a:lnTo>
                <a:cubicBezTo>
                  <a:pt x="10093552" y="5958465"/>
                  <a:pt x="9991981" y="6059382"/>
                  <a:pt x="9902773" y="6059382"/>
                </a:cubicBezTo>
                <a:lnTo>
                  <a:pt x="161526" y="6059382"/>
                </a:lnTo>
                <a:cubicBezTo>
                  <a:pt x="72318" y="6059382"/>
                  <a:pt x="0" y="5987064"/>
                  <a:pt x="0" y="5897856"/>
                </a:cubicBezTo>
                <a:cubicBezTo>
                  <a:pt x="0" y="3857021"/>
                  <a:pt x="1909" y="1954722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17972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560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6830" y="1484730"/>
            <a:ext cx="8009440" cy="4863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AA1F1C-934D-4781-B18B-4A09ED4E01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1" y="531159"/>
            <a:ext cx="7011165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9"/>
          </p:nvPr>
        </p:nvSpPr>
        <p:spPr>
          <a:xfrm>
            <a:off x="3459190" y="1988800"/>
            <a:ext cx="5238330" cy="3888540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89865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098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8821" y="1208830"/>
            <a:ext cx="7273010" cy="5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83F64F-2402-4C0D-9BB5-79CBB6403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60"/>
            <a:ext cx="6801876" cy="754011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Рисунок 4"/>
          <p:cNvSpPr>
            <a:spLocks noGrp="1"/>
          </p:cNvSpPr>
          <p:nvPr>
            <p:ph type="pic" sz="quarter" idx="18"/>
          </p:nvPr>
        </p:nvSpPr>
        <p:spPr>
          <a:xfrm>
            <a:off x="3152750" y="2017745"/>
            <a:ext cx="5112710" cy="335803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087251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7216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1826906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4203797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13" imgW="378" imgH="379" progId="TCLayout.ActiveDocument.1">
                  <p:embed/>
                </p:oleObj>
              </mc:Choice>
              <mc:Fallback>
                <p:oleObj name="think-cell Slide" r:id="rId13" imgW="378" imgH="379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600202"/>
            <a:ext cx="89154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1" y="6356351"/>
            <a:ext cx="31369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743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hf hdr="0" ftr="0" dt="0"/>
  <p:txStyles>
    <p:titleStyle>
      <a:lvl1pPr algn="ctr" defTabSz="1220432" rtl="0" eaLnBrk="1" latinLnBrk="0" hangingPunct="1">
        <a:spcBef>
          <a:spcPct val="0"/>
        </a:spcBef>
        <a:buNone/>
        <a:defRPr sz="321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663" indent="-457663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16" kern="1200">
          <a:solidFill>
            <a:schemeClr val="tx1"/>
          </a:solidFill>
          <a:latin typeface="+mn-lt"/>
          <a:ea typeface="+mn-ea"/>
          <a:cs typeface="+mn-cs"/>
        </a:defRPr>
      </a:lvl1pPr>
      <a:lvl2pPr marL="991600" indent="-381383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525538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6" kern="1200">
          <a:solidFill>
            <a:schemeClr val="tx1"/>
          </a:solidFill>
          <a:latin typeface="+mn-lt"/>
          <a:ea typeface="+mn-ea"/>
          <a:cs typeface="+mn-cs"/>
        </a:defRPr>
      </a:lvl3pPr>
      <a:lvl4pPr marL="2135756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8" kern="1200">
          <a:solidFill>
            <a:schemeClr val="tx1"/>
          </a:solidFill>
          <a:latin typeface="+mn-lt"/>
          <a:ea typeface="+mn-ea"/>
          <a:cs typeface="+mn-cs"/>
        </a:defRPr>
      </a:lvl4pPr>
      <a:lvl5pPr marL="2745970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»"/>
        <a:defRPr sz="1878" kern="1200">
          <a:solidFill>
            <a:schemeClr val="tx1"/>
          </a:solidFill>
          <a:latin typeface="+mn-lt"/>
          <a:ea typeface="+mn-ea"/>
          <a:cs typeface="+mn-cs"/>
        </a:defRPr>
      </a:lvl5pPr>
      <a:lvl6pPr marL="3356187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6pPr>
      <a:lvl7pPr marL="3966402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7pPr>
      <a:lvl8pPr marL="4576619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8pPr>
      <a:lvl9pPr marL="5186834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1pPr>
      <a:lvl2pPr marL="610216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22043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830647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4pPr>
      <a:lvl5pPr marL="244086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5pPr>
      <a:lvl6pPr marL="305108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6pPr>
      <a:lvl7pPr marL="3661293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7pPr>
      <a:lvl8pPr marL="4271509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8pPr>
      <a:lvl9pPr marL="4881725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52">
          <p15:clr>
            <a:srgbClr val="F26B43"/>
          </p15:clr>
        </p15:guide>
        <p15:guide id="3" pos="714">
          <p15:clr>
            <a:srgbClr val="F26B43"/>
          </p15:clr>
        </p15:guide>
        <p15:guide id="4" pos="5888">
          <p15:clr>
            <a:srgbClr val="F26B43"/>
          </p15:clr>
        </p15:guide>
        <p15:guide id="5" pos="5526">
          <p15:clr>
            <a:srgbClr val="F26B43"/>
          </p15:clr>
        </p15:guide>
        <p15:guide id="6" pos="5328">
          <p15:clr>
            <a:srgbClr val="F26B43"/>
          </p15:clr>
        </p15:guide>
        <p15:guide id="7" pos="4966">
          <p15:clr>
            <a:srgbClr val="F26B43"/>
          </p15:clr>
        </p15:guide>
        <p15:guide id="8" pos="4768">
          <p15:clr>
            <a:srgbClr val="F26B43"/>
          </p15:clr>
        </p15:guide>
        <p15:guide id="9" pos="4373">
          <p15:clr>
            <a:srgbClr val="F26B43"/>
          </p15:clr>
        </p15:guide>
        <p15:guide id="10" pos="4175">
          <p15:clr>
            <a:srgbClr val="F26B43"/>
          </p15:clr>
        </p15:guide>
        <p15:guide id="11" pos="3812">
          <p15:clr>
            <a:srgbClr val="F26B43"/>
          </p15:clr>
        </p15:guide>
        <p15:guide id="12" pos="3581">
          <p15:clr>
            <a:srgbClr val="F26B43"/>
          </p15:clr>
        </p15:guide>
        <p15:guide id="13" pos="3219">
          <p15:clr>
            <a:srgbClr val="F26B43"/>
          </p15:clr>
        </p15:guide>
        <p15:guide id="14" pos="3021">
          <p15:clr>
            <a:srgbClr val="F26B43"/>
          </p15:clr>
        </p15:guide>
        <p15:guide id="15" pos="2659">
          <p15:clr>
            <a:srgbClr val="F26B43"/>
          </p15:clr>
        </p15:guide>
        <p15:guide id="16" pos="2428">
          <p15:clr>
            <a:srgbClr val="F26B43"/>
          </p15:clr>
        </p15:guide>
        <p15:guide id="17" pos="2065">
          <p15:clr>
            <a:srgbClr val="F26B43"/>
          </p15:clr>
        </p15:guide>
        <p15:guide id="18" pos="1867">
          <p15:clr>
            <a:srgbClr val="F26B43"/>
          </p15:clr>
        </p15:guide>
        <p15:guide id="19" pos="1472">
          <p15:clr>
            <a:srgbClr val="F26B43"/>
          </p15:clr>
        </p15:guide>
        <p15:guide id="20" pos="1274">
          <p15:clr>
            <a:srgbClr val="F26B43"/>
          </p15:clr>
        </p15:guide>
        <p15:guide id="21" pos="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.google.com/store/apps/details?id=ru.gosuslugi.culture" TargetMode="External"/><Relationship Id="rId7" Type="http://schemas.openxmlformats.org/officeDocument/2006/relationships/image" Target="../media/image11.png"/><Relationship Id="rId2" Type="http://schemas.openxmlformats.org/officeDocument/2006/relationships/hyperlink" Target="https://apps.apple.com/ru/app/id1581979387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ochtabank.ru/map" TargetMode="External"/><Relationship Id="rId5" Type="http://schemas.openxmlformats.org/officeDocument/2006/relationships/hyperlink" Target="https://culture.gosuslugi.ru/" TargetMode="External"/><Relationship Id="rId4" Type="http://schemas.openxmlformats.org/officeDocument/2006/relationships/hyperlink" Target="https://appgallery.huawei.com/app/C10466206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76407" y="805955"/>
            <a:ext cx="9281405" cy="506691"/>
          </a:xfrm>
        </p:spPr>
        <p:txBody>
          <a:bodyPr/>
          <a:lstStyle/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дтверждение личности это полный доступ ко всем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услугам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ртала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жда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самостоятельно с 14 лет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6935" y="1808489"/>
            <a:ext cx="4256016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>
                <a:solidFill>
                  <a:srgbClr val="253779"/>
                </a:solidFill>
              </a:rPr>
              <a:t>Для сельского школьника номинал Пушкинской карты в 5000 рублей- это уникальная возможность </a:t>
            </a:r>
            <a:r>
              <a:rPr lang="ru-RU" sz="1200" dirty="0" smtClean="0">
                <a:solidFill>
                  <a:srgbClr val="253779"/>
                </a:solidFill>
              </a:rPr>
              <a:t>бесплатно </a:t>
            </a:r>
            <a:r>
              <a:rPr lang="ru-RU" sz="1200" dirty="0">
                <a:solidFill>
                  <a:srgbClr val="253779"/>
                </a:solidFill>
              </a:rPr>
              <a:t>посещать </a:t>
            </a:r>
            <a:r>
              <a:rPr lang="ru-RU" sz="1200" dirty="0" smtClean="0">
                <a:solidFill>
                  <a:srgbClr val="253779"/>
                </a:solidFill>
              </a:rPr>
              <a:t>театры</a:t>
            </a:r>
            <a:r>
              <a:rPr lang="ru-RU" sz="1200" dirty="0">
                <a:solidFill>
                  <a:srgbClr val="253779"/>
                </a:solidFill>
              </a:rPr>
              <a:t>, кинотеатры, музеи, выставки, филармонии и другие учреждения </a:t>
            </a:r>
            <a:r>
              <a:rPr lang="ru-RU" sz="1200" dirty="0" smtClean="0">
                <a:solidFill>
                  <a:srgbClr val="253779"/>
                </a:solidFill>
              </a:rPr>
              <a:t>культуры как своего района, так и по всей стране</a:t>
            </a:r>
            <a:endParaRPr lang="ru-RU" sz="1200" dirty="0">
              <a:solidFill>
                <a:srgbClr val="253779"/>
              </a:solidFill>
            </a:endParaRPr>
          </a:p>
        </p:txBody>
      </p:sp>
      <p:pic>
        <p:nvPicPr>
          <p:cNvPr id="2050" name="Picture 2" descr="В 2022 году &quot;Пушкинскую карту&quot; пополнили на 5000 рублей - Национальный  проект «Культура» 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2869980"/>
            <a:ext cx="4256120" cy="234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уда легче всего поступить на бюджет? ПрофГид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484" y="2869980"/>
            <a:ext cx="4388751" cy="235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4832182" y="1808489"/>
            <a:ext cx="5028037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 smtClean="0">
                <a:solidFill>
                  <a:srgbClr val="253779"/>
                </a:solidFill>
              </a:rPr>
              <a:t>Для сельского выпускника подать онлайн заявление на портале </a:t>
            </a:r>
            <a:r>
              <a:rPr lang="ru-RU" sz="1200" dirty="0" err="1" smtClean="0">
                <a:solidFill>
                  <a:srgbClr val="253779"/>
                </a:solidFill>
              </a:rPr>
              <a:t>Госуслуг</a:t>
            </a:r>
            <a:r>
              <a:rPr lang="ru-RU" sz="1200" dirty="0" smtClean="0">
                <a:solidFill>
                  <a:srgbClr val="253779"/>
                </a:solidFill>
              </a:rPr>
              <a:t> для поступления в пять ВУЗов страны- это возможность без дополнительных расходов на дорогу и проживание поступить в ведущие ВУЗы страны, </a:t>
            </a:r>
            <a:r>
              <a:rPr lang="ru-RU" sz="1200" b="1" dirty="0" smtClean="0">
                <a:solidFill>
                  <a:srgbClr val="253779"/>
                </a:solidFill>
              </a:rPr>
              <a:t>а также использовать при поступлении баллы за ГТО и баллы за часы волонтера.</a:t>
            </a:r>
            <a:endParaRPr lang="ru-RU" sz="1200" b="1" dirty="0">
              <a:solidFill>
                <a:srgbClr val="253779"/>
              </a:solidFill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376407" y="306001"/>
            <a:ext cx="8666757" cy="802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Услуга ЕСИА в сельской местности</a:t>
            </a:r>
            <a:endParaRPr lang="ru-RU" dirty="0"/>
          </a:p>
        </p:txBody>
      </p:sp>
      <p:sp>
        <p:nvSpPr>
          <p:cNvPr id="6" name="AutoShape 6" descr="Галочка без фона - 38 фото"/>
          <p:cNvSpPr>
            <a:spLocks noChangeAspect="1" noChangeArrowheads="1"/>
          </p:cNvSpPr>
          <p:nvPr/>
        </p:nvSpPr>
        <p:spPr bwMode="auto">
          <a:xfrm>
            <a:off x="-1671920" y="137951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галочка скачать бесплатно - Галочка Компьютерные иконки клип-арт - Иконка Зеленая  Галочка 2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8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642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69461" y="1464433"/>
            <a:ext cx="2031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ушкинская карт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98317" y="1462229"/>
            <a:ext cx="31517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Онлайн-поступление в ВУЗы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Заголовок 2"/>
          <p:cNvSpPr txBox="1">
            <a:spLocks/>
          </p:cNvSpPr>
          <p:nvPr/>
        </p:nvSpPr>
        <p:spPr>
          <a:xfrm>
            <a:off x="307975" y="5733320"/>
            <a:ext cx="9224083" cy="10342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0" i="1" dirty="0" smtClean="0">
                <a:solidFill>
                  <a:schemeClr val="accent1">
                    <a:lumMod val="50000"/>
                  </a:schemeClr>
                </a:solidFill>
              </a:rPr>
              <a:t>Подтвердить личность на портале </a:t>
            </a:r>
            <a:r>
              <a:rPr lang="ru-RU" sz="1600" b="0" i="1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i="1" dirty="0" smtClean="0">
                <a:solidFill>
                  <a:schemeClr val="accent1">
                    <a:lumMod val="50000"/>
                  </a:schemeClr>
                </a:solidFill>
              </a:rPr>
              <a:t> можно в СОПС </a:t>
            </a:r>
            <a:r>
              <a:rPr lang="ru-RU" sz="1600" b="0" i="1" dirty="0" err="1" smtClean="0">
                <a:solidFill>
                  <a:schemeClr val="accent1">
                    <a:lumMod val="50000"/>
                  </a:schemeClr>
                </a:solidFill>
              </a:rPr>
              <a:t>Тропарёво</a:t>
            </a:r>
            <a:r>
              <a:rPr lang="ru-RU" sz="1600" b="0" i="1" dirty="0" smtClean="0">
                <a:solidFill>
                  <a:srgbClr val="FF0000"/>
                </a:solidFill>
              </a:rPr>
              <a:t> </a:t>
            </a:r>
            <a:r>
              <a:rPr lang="ru-RU" sz="1600" b="0" i="1" dirty="0">
                <a:solidFill>
                  <a:srgbClr val="FF0000"/>
                </a:solidFill>
              </a:rPr>
              <a:t>п</a:t>
            </a:r>
            <a:r>
              <a:rPr lang="ru-RU" sz="1600" b="0" i="1" dirty="0" smtClean="0">
                <a:solidFill>
                  <a:srgbClr val="FF0000"/>
                </a:solidFill>
              </a:rPr>
              <a:t>о </a:t>
            </a:r>
            <a:r>
              <a:rPr lang="ru-RU" sz="1600" b="0" i="1" dirty="0">
                <a:solidFill>
                  <a:srgbClr val="FF0000"/>
                </a:solidFill>
              </a:rPr>
              <a:t>адресу </a:t>
            </a:r>
          </a:p>
          <a:p>
            <a:r>
              <a:rPr lang="ru-RU" sz="1600" b="0" i="1" dirty="0">
                <a:solidFill>
                  <a:srgbClr val="FF0000"/>
                </a:solidFill>
              </a:rPr>
              <a:t> 143232, Можайский г.о., п. </a:t>
            </a:r>
            <a:r>
              <a:rPr lang="ru-RU" sz="1600" b="0" i="1" dirty="0" err="1">
                <a:solidFill>
                  <a:srgbClr val="FF0000"/>
                </a:solidFill>
              </a:rPr>
              <a:t>Тропарёво</a:t>
            </a:r>
            <a:r>
              <a:rPr lang="ru-RU" sz="1600" b="0" i="1" dirty="0">
                <a:solidFill>
                  <a:srgbClr val="FF0000"/>
                </a:solidFill>
              </a:rPr>
              <a:t>, ул. Советская д.10</a:t>
            </a:r>
            <a:endParaRPr lang="ru-RU" sz="1600" b="0" i="1" dirty="0" smtClean="0">
              <a:solidFill>
                <a:srgbClr val="FF0000"/>
              </a:solidFill>
            </a:endParaRPr>
          </a:p>
          <a:p>
            <a:r>
              <a:rPr lang="ru-RU" sz="1600" b="0" i="1" dirty="0" smtClean="0">
                <a:solidFill>
                  <a:srgbClr val="FF0000"/>
                </a:solidFill>
              </a:rPr>
              <a:t>Часы работы: Вторник-Пятница с 09:00до 17:00, Суббота –с 09:00до 16:00</a:t>
            </a:r>
            <a:endParaRPr lang="ru-RU" sz="1600" b="0" i="1" dirty="0">
              <a:solidFill>
                <a:srgbClr val="FF0000"/>
              </a:solidFill>
            </a:endParaRPr>
          </a:p>
          <a:p>
            <a:endParaRPr lang="ru-RU" sz="1600" b="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13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04410" y="296801"/>
            <a:ext cx="6980500" cy="506314"/>
          </a:xfrm>
        </p:spPr>
        <p:txBody>
          <a:bodyPr/>
          <a:lstStyle/>
          <a:p>
            <a:r>
              <a:rPr lang="ru-RU" dirty="0">
                <a:solidFill>
                  <a:srgbClr val="0070C0"/>
                </a:solidFill>
              </a:rPr>
              <a:t>Как оформить Пушкинскую карту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632400" y="1196690"/>
            <a:ext cx="9001250" cy="54727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Зарегистрируйтесь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а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подтвердите учётную запись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можно сделать с </a:t>
            </a:r>
            <a:r>
              <a:rPr lang="ru-RU" sz="1400" b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 </a:t>
            </a:r>
            <a:r>
              <a:rPr lang="ru-RU" sz="1400" b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т (после 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ия </a:t>
            </a:r>
            <a:r>
              <a:rPr lang="ru-RU" sz="1400" b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а РФ)</a:t>
            </a:r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Установ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бильное приложение «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ультура»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о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 в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AppStor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Googl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la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и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AppGaller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QR-код для скачивания приложения размещён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на </a:t>
            </a:r>
            <a:r>
              <a:rPr lang="ru-RU" sz="1400" b="0" dirty="0" err="1" smtClean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Госуслугах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ww.gosuslugi.ru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Подтверд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уск Пушкинской карты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Вы можете оформить виртуальную карту «Мир» прямо в приложении или получить пластиковую карту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в отделении Почта Банка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редъявив паспорт и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ЛС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ерите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е из афиши в приложении или на сайте  «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.РФ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и оплатите билет картой. При покупке билетов на сайте самой культурной организации или через кассу убедитесь, что организация участвует в программе. При покупке на сайте ищите кнопку «Оплатить Пушкинской картой»</a:t>
            </a:r>
          </a:p>
          <a:p>
            <a:pPr marL="457200" indent="-457200">
              <a:buFontTx/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r>
              <a:rPr lang="ru-RU" sz="1000" dirty="0" smtClean="0"/>
              <a:t>«</a:t>
            </a:r>
            <a:r>
              <a:rPr lang="ru-RU" sz="1000" dirty="0"/>
              <a:t>Пушкинская карта» – это проект для молодежи от 14 до 22 лет. Лимит в 5 000 рублей можно использовать, чтобы купить билеты в музеи, театры, на выставки, экскурсии, мастер-классы и даже в </a:t>
            </a:r>
            <a:r>
              <a:rPr lang="ru-RU" sz="1000" dirty="0" smtClean="0"/>
              <a:t>кино. Воспользоваться можно по всей России.</a:t>
            </a:r>
            <a:endParaRPr lang="ru-RU" sz="1000" dirty="0"/>
          </a:p>
        </p:txBody>
      </p:sp>
      <p:pic>
        <p:nvPicPr>
          <p:cNvPr id="2050" name="Picture 2" descr="https://gu-st.ru/landings-st/assets/svg/culture/girl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410" y="4149100"/>
            <a:ext cx="1371678" cy="142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8795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F&quot; g=&quot;7F&quot; b=&quot;7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78</TotalTime>
  <Words>343</Words>
  <Application>Microsoft Office PowerPoint</Application>
  <PresentationFormat>Лист A4 (210x297 мм)</PresentationFormat>
  <Paragraphs>29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7" baseType="lpstr">
      <vt:lpstr>Arial</vt:lpstr>
      <vt:lpstr>Calibri</vt:lpstr>
      <vt:lpstr>Times New Roman</vt:lpstr>
      <vt:lpstr>1_Тема Office</vt:lpstr>
      <vt:lpstr>think-cell Slide</vt:lpstr>
      <vt:lpstr>Подтверждение личности это полный доступ ко всем услугам портала Госуслуг Подтверждать личность на портале Госуслуг можно самостоятельно с 14 лет </vt:lpstr>
      <vt:lpstr>Как оформить Пушкинскую карт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Баринова Екатерина Михайловна</cp:lastModifiedBy>
  <cp:revision>794</cp:revision>
  <cp:lastPrinted>2022-10-12T06:08:00Z</cp:lastPrinted>
  <dcterms:created xsi:type="dcterms:W3CDTF">2021-07-19T08:04:33Z</dcterms:created>
  <dcterms:modified xsi:type="dcterms:W3CDTF">2022-11-10T10:27:43Z</dcterms:modified>
</cp:coreProperties>
</file>